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>
        <p:scale>
          <a:sx n="80" d="100"/>
          <a:sy n="80" d="100"/>
        </p:scale>
        <p:origin x="136" y="4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5/07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5/07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inkedin.com/in/sanath-kumar-rao-k-v-017a47187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jpeg"/><Relationship Id="rId4" Type="http://schemas.openxmlformats.org/officeDocument/2006/relationships/image" Target="../media/image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3897195" cy="3621087"/>
          </a:xfrm>
        </p:spPr>
        <p:txBody>
          <a:bodyPr/>
          <a:lstStyle/>
          <a:p>
            <a:pPr algn="just" eaLnBrk="1" hangingPunct="1">
              <a:lnSpc>
                <a:spcPct val="114000"/>
              </a:lnSpc>
            </a:pPr>
            <a:r>
              <a:rPr lang="en-US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1.Medical Store Management Application</a:t>
            </a:r>
          </a:p>
          <a:p>
            <a:pPr algn="just"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eveloped Medical Store Management application on JAVA using spring framework and microservices. Used  Postman and the client software for the first stage of the case study assessment during training program.</a:t>
            </a:r>
            <a:endParaRPr lang="en-US" alt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US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2. Completed </a:t>
            </a:r>
            <a:r>
              <a:rPr lang="en-IN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Git, GitHub at Capgemini Degreed Platform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Learnt the concepts of Git and GitHub, simultaneously applied the concepts for better learning.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3. Pursuing iTransform: Full Stack Angular, Spring Boot MS &amp; MongoDB at Capgemini Degreed Platform.</a:t>
            </a: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4199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53706" y="1363663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Bangalor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95643" y="1574763"/>
            <a:ext cx="3870514" cy="295274"/>
          </a:xfrm>
        </p:spPr>
        <p:txBody>
          <a:bodyPr/>
          <a:lstStyle/>
          <a:p>
            <a:pPr eaLnBrk="1" hangingPunct="1"/>
            <a:r>
              <a:rPr lang="nl-NL" altLang="nl-NL" dirty="0"/>
              <a:t>Omprakash.T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16809" y="1847851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8073005653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53859" y="2976265"/>
            <a:ext cx="4229973" cy="3621087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IN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 self driven learner with Front-End and Back-End knowledge. Passionate about implementing and launching new projects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IN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eady to learn new technologies/Frameworks and implement them to further improve my knowledge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IN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 team player with good communication skill always ready to work for the enrichment of knowledge.</a:t>
            </a:r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IN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as working knowledge on Java Microservice Development using Spring framework on an intermediate level. Also Implemented Eureka Server in case study and upskilling day by day.</a:t>
            </a:r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ftware Engineer who is Strong in design and integration with intuitive problem-solving skills. Passionate about implementing and launching new projects.</a:t>
            </a:r>
            <a:endParaRPr lang="en-US" alt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1881" y="521727"/>
            <a:ext cx="2890120" cy="6336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200" dirty="0">
                <a:latin typeface="Arial" panose="020B0604020202020204" pitchFamily="34" charset="0"/>
                <a:cs typeface="Arial" panose="020B0604020202020204" pitchFamily="34" charset="0"/>
              </a:rPr>
              <a:t>Bachelor OF Technology: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200" dirty="0">
                <a:latin typeface="Arial" panose="020B0604020202020204" pitchFamily="34" charset="0"/>
                <a:cs typeface="Arial" panose="020B0604020202020204" pitchFamily="34" charset="0"/>
              </a:rPr>
              <a:t>2018 - 2021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20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nl-NL" sz="120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Java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pring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Manual Testing</a:t>
            </a:r>
          </a:p>
          <a:p>
            <a:pPr eaLnBrk="1" hangingPunct="1">
              <a:lnSpc>
                <a:spcPct val="114000"/>
              </a:lnSpc>
            </a:pPr>
            <a:endParaRPr lang="en-US" altLang="nl-NL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Java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pring Securit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EST API</a:t>
            </a:r>
          </a:p>
          <a:p>
            <a:pPr eaLnBrk="1" hangingPunct="1">
              <a:lnSpc>
                <a:spcPct val="114000"/>
              </a:lnSpc>
            </a:pPr>
            <a:endParaRPr lang="en-US" altLang="nl-NL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MongoD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Technologies</a:t>
            </a:r>
            <a:endParaRPr lang="en-US" altLang="nl-NL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200" dirty="0">
                <a:latin typeface="Arial" panose="020B0604020202020204" pitchFamily="34" charset="0"/>
                <a:cs typeface="Arial" panose="020B0604020202020204" pitchFamily="34" charset="0"/>
              </a:rPr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200" dirty="0">
                <a:latin typeface="Arial" panose="020B0604020202020204" pitchFamily="34" charset="0"/>
                <a:cs typeface="Arial" panose="020B0604020202020204" pitchFamily="34" charset="0"/>
              </a:rPr>
              <a:t>CSS3</a:t>
            </a:r>
          </a:p>
          <a:p>
            <a:pPr eaLnBrk="1" hangingPunct="1">
              <a:lnSpc>
                <a:spcPct val="114000"/>
              </a:lnSpc>
            </a:pPr>
            <a:endParaRPr lang="en-US" altLang="nl-NL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-ons</a:t>
            </a:r>
            <a:endParaRPr lang="en-US" altLang="nl-NL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200" dirty="0">
                <a:latin typeface="Arial" panose="020B0604020202020204" pitchFamily="34" charset="0"/>
                <a:cs typeface="Arial" panose="020B0604020202020204" pitchFamily="34" charset="0"/>
              </a:rPr>
              <a:t>Git and 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200" dirty="0">
                <a:latin typeface="Arial" panose="020B0604020202020204" pitchFamily="34" charset="0"/>
                <a:cs typeface="Arial" panose="020B0604020202020204" pitchFamily="34" charset="0"/>
              </a:rPr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Details</a:t>
            </a:r>
            <a:endParaRPr lang="en-US" altLang="nl-NL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200" dirty="0">
                <a:latin typeface="Arial" panose="020B0604020202020204" pitchFamily="34" charset="0"/>
                <a:cs typeface="Arial" panose="020B0604020202020204" pitchFamily="34" charset="0"/>
              </a:rPr>
              <a:t>Team management    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>
                <a:latin typeface="Arial" panose="020B0604020202020204" pitchFamily="34" charset="0"/>
                <a:cs typeface="Arial" panose="020B0604020202020204" pitchFamily="34" charset="0"/>
              </a:rPr>
              <a:t>Omprakash.T</a:t>
            </a:r>
          </a:p>
        </p:txBody>
      </p:sp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62566" y="1964438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16" name="Picture 7">
            <a:hlinkClick r:id="rId3"/>
            <a:extLst>
              <a:ext uri="{FF2B5EF4-FFF2-40B4-BE49-F238E27FC236}">
                <a16:creationId xmlns:a16="http://schemas.microsoft.com/office/drawing/2014/main" id="{167FB947-4381-4025-8E12-AD1894C943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691563" y="1590582"/>
            <a:ext cx="432537" cy="43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Placeholder 9" descr="A picture containing person, wall, indoor, person&#10;&#10;Description automatically generated">
            <a:extLst>
              <a:ext uri="{FF2B5EF4-FFF2-40B4-BE49-F238E27FC236}">
                <a16:creationId xmlns:a16="http://schemas.microsoft.com/office/drawing/2014/main" id="{94FC8C56-2187-411F-9675-1A3C084D155C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29" b="5429"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30A5E36C103344AFD0A83E8B43DE37" ma:contentTypeVersion="2" ma:contentTypeDescription="Create a new document." ma:contentTypeScope="" ma:versionID="fb91054739b691d8eb50f8dc1bb45a4e">
  <xsd:schema xmlns:xsd="http://www.w3.org/2001/XMLSchema" xmlns:xs="http://www.w3.org/2001/XMLSchema" xmlns:p="http://schemas.microsoft.com/office/2006/metadata/properties" xmlns:ns2="5d5ff2ad-8f65-4c2b-a74f-83bed9f87d8e" targetNamespace="http://schemas.microsoft.com/office/2006/metadata/properties" ma:root="true" ma:fieldsID="f477d7c06d0971793799608b32beba49" ns2:_="">
    <xsd:import namespace="5d5ff2ad-8f65-4c2b-a74f-83bed9f87d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5ff2ad-8f65-4c2b-a74f-83bed9f87d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8CEDE10-C5AE-40CE-8DBF-70ED16D76D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5ff2ad-8f65-4c2b-a74f-83bed9f87d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5d5ff2ad-8f65-4c2b-a74f-83bed9f87d8e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0967</TotalTime>
  <Words>246</Words>
  <Application>Microsoft Office PowerPoint</Application>
  <PresentationFormat>Widescreen</PresentationFormat>
  <Paragraphs>6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T, Omprakash</cp:lastModifiedBy>
  <cp:revision>128</cp:revision>
  <dcterms:created xsi:type="dcterms:W3CDTF">2017-12-08T05:27:40Z</dcterms:created>
  <dcterms:modified xsi:type="dcterms:W3CDTF">2022-07-25T09:1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30A5E36C103344AFD0A83E8B43DE37</vt:lpwstr>
  </property>
</Properties>
</file>